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6" r:id="rId4"/>
  </p:sldMasterIdLst>
  <p:notesMasterIdLst>
    <p:notesMasterId r:id="rId12"/>
  </p:notesMasterIdLst>
  <p:sldIdLst>
    <p:sldId id="256" r:id="rId5"/>
    <p:sldId id="257" r:id="rId6"/>
    <p:sldId id="260" r:id="rId7"/>
    <p:sldId id="258" r:id="rId8"/>
    <p:sldId id="261" r:id="rId9"/>
    <p:sldId id="262" r:id="rId10"/>
    <p:sldId id="263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E7938E-1D0C-4EEE-8A64-30CB6049AC02}" v="37" dt="2021-10-19T16:34:11.1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033" autoAdjust="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8AAC07-7EAD-4A97-ADF3-682D05B72264}" type="datetimeFigureOut">
              <a:rPr lang="en-GB" smtClean="0"/>
              <a:t>22/1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B25B79-01EE-471E-9988-4CFD0F0775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246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microsoft.com/office/2007/relationships/hdphoto" Target="../media/hdphoto3.wd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microsoft.com/office/2007/relationships/hdphoto" Target="../media/hdphoto4.wd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158296-BC09-4A3B-94D3-36FFD6B8E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158296-BC09-4A3B-94D3-36FFD6B8E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4A49B73-2A24-4AD6-A77C-846FB6ABAE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AEFEAF-796B-4B30-BF3F-53B35514D0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B7BEB4F-10F5-4C3E-80F9-43A846CDD0E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713" t="34733" r="32122" b="37486"/>
          <a:stretch/>
        </p:blipFill>
        <p:spPr>
          <a:xfrm rot="10800000">
            <a:off x="0" y="-1"/>
            <a:ext cx="12191994" cy="416345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47DAD28-6036-4A9A-AB46-0E6EAD031D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809072-0440-4E13-BA47-5D9D5D95B125}"/>
              </a:ext>
            </a:extLst>
          </p:cNvPr>
          <p:cNvSpPr txBox="1"/>
          <p:nvPr userDrawn="1"/>
        </p:nvSpPr>
        <p:spPr>
          <a:xfrm>
            <a:off x="1587423" y="5828247"/>
            <a:ext cx="7246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FULL POWER | Industrial Power Systems Divis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E7D2210-228E-4830-A28C-BAEBB564DE63}"/>
              </a:ext>
            </a:extLst>
          </p:cNvPr>
          <p:cNvSpPr/>
          <p:nvPr userDrawn="1"/>
        </p:nvSpPr>
        <p:spPr>
          <a:xfrm>
            <a:off x="1587423" y="6248877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>
                <a:latin typeface="Arial Narrow" panose="020B0606020202030204" pitchFamily="34" charset="0"/>
                <a:cs typeface="Arial" panose="020B0604020202020204" pitchFamily="34" charset="0"/>
              </a:rPr>
              <a:t>© Proprietary Information of Caterpillar Inc. 2020 - All Rights Reserved</a:t>
            </a:r>
            <a:endParaRPr lang="es-US" sz="14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478E777-B047-4010-A4A6-F851EAE1B51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5906" y="6238018"/>
            <a:ext cx="2200355" cy="349413"/>
          </a:xfrm>
          <a:prstGeom prst="rect">
            <a:avLst/>
          </a:prstGeom>
        </p:spPr>
      </p:pic>
      <p:pic>
        <p:nvPicPr>
          <p:cNvPr id="19" name="Picture 18" descr="A picture containing object&#10;&#10;Description automatically generated">
            <a:extLst>
              <a:ext uri="{FF2B5EF4-FFF2-40B4-BE49-F238E27FC236}">
                <a16:creationId xmlns:a16="http://schemas.microsoft.com/office/drawing/2014/main" id="{D2118BC0-A88F-4531-B2FD-E1816C95C0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8"/>
          <a:stretch/>
        </p:blipFill>
        <p:spPr>
          <a:xfrm>
            <a:off x="80451" y="5340182"/>
            <a:ext cx="1506972" cy="143779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01A091-B047-480A-933D-81E933A72B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81425" y="3712193"/>
            <a:ext cx="8174836" cy="798719"/>
          </a:xfrm>
        </p:spPr>
        <p:txBody>
          <a:bodyPr/>
          <a:lstStyle>
            <a:lvl1pPr marL="0" indent="0" algn="r">
              <a:buNone/>
              <a:defRPr sz="6000" b="1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5120F982-FE8C-489F-9F78-7CA1625072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81425" y="4656822"/>
            <a:ext cx="8174836" cy="798719"/>
          </a:xfrm>
        </p:spPr>
        <p:txBody>
          <a:bodyPr/>
          <a:lstStyle>
            <a:lvl1pPr marL="0" indent="0" algn="r">
              <a:buNone/>
              <a:defRPr sz="4400" b="0"/>
            </a:lvl1pPr>
          </a:lstStyle>
          <a:p>
            <a:pPr lvl="0"/>
            <a:r>
              <a:rPr lang="en-US" dirty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1132056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3270735-8195-48A4-B24B-6E1F10DEE8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3270735-8195-48A4-B24B-6E1F10DEE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0" y="909414"/>
            <a:ext cx="10972800" cy="278572"/>
          </a:xfrm>
        </p:spPr>
        <p:txBody>
          <a:bodyPr>
            <a:noAutofit/>
          </a:bodyPr>
          <a:lstStyle>
            <a:lvl1pPr marL="0" indent="0">
              <a:buNone/>
              <a:defRPr sz="2000" i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F247550-D4B2-44BB-994B-432CBAD75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1187"/>
            <a:ext cx="10972799" cy="599138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9DB23FC-3D8D-486F-BBB5-95AD6431DF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15845"/>
            <a:ext cx="10972799" cy="421713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41631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0597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649FAA-3D2C-479E-94DC-4F02AF5E3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649FAA-3D2C-479E-94DC-4F02AF5E3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865FB8-B690-4385-8B41-9E9111826A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6F25B0C-330B-4B41-A5B0-BF7F5EB94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1187"/>
            <a:ext cx="10972799" cy="599138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6692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CBB61B-49A1-447A-BBF1-3494A59DD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CBB61B-49A1-447A-BBF1-3494A59DD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0" y="1027395"/>
            <a:ext cx="10972800" cy="278572"/>
          </a:xfrm>
        </p:spPr>
        <p:txBody>
          <a:bodyPr>
            <a:noAutofit/>
          </a:bodyPr>
          <a:lstStyle>
            <a:lvl1pPr marL="0" indent="0">
              <a:buNone/>
              <a:defRPr sz="2000" i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0DBB902-E45E-4927-8F01-2CAA7378E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1187"/>
            <a:ext cx="10972799" cy="599138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39601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B22EB42-328D-EE41-84FE-AEABB938382B}"/>
              </a:ext>
            </a:extLst>
          </p:cNvPr>
          <p:cNvGrpSpPr/>
          <p:nvPr userDrawn="1"/>
        </p:nvGrpSpPr>
        <p:grpSpPr>
          <a:xfrm>
            <a:off x="1521840" y="1077212"/>
            <a:ext cx="9144000" cy="4437821"/>
            <a:chOff x="1521840" y="794529"/>
            <a:chExt cx="9144000" cy="443782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4109F76-577F-D742-95D1-581D6F2647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16476" y="794529"/>
              <a:ext cx="3754729" cy="4083878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4BCF073-0116-FD47-A078-5AF9AF29BA96}"/>
                </a:ext>
              </a:extLst>
            </p:cNvPr>
            <p:cNvSpPr txBox="1"/>
            <p:nvPr/>
          </p:nvSpPr>
          <p:spPr>
            <a:xfrm>
              <a:off x="1521840" y="4524464"/>
              <a:ext cx="914400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>
                  <a:latin typeface="Arial Narrow" panose="020B0606020202030204" pitchFamily="34" charset="0"/>
                </a:rPr>
                <a:t>QUESTIONS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80868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21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39407" y="6336393"/>
            <a:ext cx="64533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6C8FCD-B88F-4733-BBAE-B9FD5343B2E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B5F165-7323-4464-B6A5-1F7FCA42D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1187"/>
            <a:ext cx="10972799" cy="599138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50509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GAF Caterpillar PPT c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296"/>
          <a:stretch/>
        </p:blipFill>
        <p:spPr bwMode="auto">
          <a:xfrm>
            <a:off x="1" y="0"/>
            <a:ext cx="12192000" cy="608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GAF Caterpillar PPT c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283" t="90770" r="1"/>
          <a:stretch/>
        </p:blipFill>
        <p:spPr bwMode="auto">
          <a:xfrm>
            <a:off x="9719164" y="6131952"/>
            <a:ext cx="2448563" cy="685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14401" y="2133602"/>
            <a:ext cx="10363200" cy="1470025"/>
          </a:xfrm>
        </p:spPr>
        <p:txBody>
          <a:bodyPr/>
          <a:lstStyle>
            <a:lvl1pPr>
              <a:defRPr sz="3200" b="0">
                <a:latin typeface="Arial Black"/>
                <a:cs typeface="Arial Black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FontTx/>
              <a:buNone/>
              <a:defRPr sz="240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7894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A49B73-2A24-4AD6-A77C-846FB6ABAE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AEFEAF-796B-4B30-BF3F-53B35514D0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B7BEB4F-10F5-4C3E-80F9-43A846CDD0E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713" t="34733" r="32122" b="37486"/>
          <a:stretch/>
        </p:blipFill>
        <p:spPr>
          <a:xfrm rot="10800000">
            <a:off x="-13" y="-1"/>
            <a:ext cx="12192005" cy="416346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47DAD28-6036-4A9A-AB46-0E6EAD031DBA}"/>
              </a:ext>
            </a:extLst>
          </p:cNvPr>
          <p:cNvSpPr/>
          <p:nvPr userDrawn="1"/>
        </p:nvSpPr>
        <p:spPr>
          <a:xfrm>
            <a:off x="0" y="0"/>
            <a:ext cx="12191987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478E777-B047-4010-A4A6-F851EAE1B51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5906" y="6238018"/>
            <a:ext cx="2200355" cy="34941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4BBE894-C2F8-43A9-A821-EB823A369F6C}"/>
              </a:ext>
            </a:extLst>
          </p:cNvPr>
          <p:cNvSpPr txBox="1"/>
          <p:nvPr userDrawn="1"/>
        </p:nvSpPr>
        <p:spPr>
          <a:xfrm>
            <a:off x="1587423" y="5828247"/>
            <a:ext cx="7246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FULL POWER | Industrial Power Systems Divis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5EECFA8-D3C8-410C-BF70-DB3AD3B34571}"/>
              </a:ext>
            </a:extLst>
          </p:cNvPr>
          <p:cNvSpPr/>
          <p:nvPr userDrawn="1"/>
        </p:nvSpPr>
        <p:spPr>
          <a:xfrm>
            <a:off x="1587423" y="6248877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>
                <a:latin typeface="Arial Narrow" panose="020B0606020202030204" pitchFamily="34" charset="0"/>
                <a:cs typeface="Arial" panose="020B0604020202020204" pitchFamily="34" charset="0"/>
              </a:rPr>
              <a:t>© Proprietary Information of Caterpillar Inc. 2020 - All Rights Reserved</a:t>
            </a:r>
            <a:endParaRPr lang="es-US" sz="14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A picture containing object&#10;&#10;Description automatically generated">
            <a:extLst>
              <a:ext uri="{FF2B5EF4-FFF2-40B4-BE49-F238E27FC236}">
                <a16:creationId xmlns:a16="http://schemas.microsoft.com/office/drawing/2014/main" id="{2CDC4684-D9E2-4B7D-AFFB-ABB1807F9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8"/>
          <a:stretch/>
        </p:blipFill>
        <p:spPr>
          <a:xfrm>
            <a:off x="80451" y="5340182"/>
            <a:ext cx="1506972" cy="1437794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0384108-4BF7-45BF-A76C-513141090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81425" y="3712193"/>
            <a:ext cx="8174836" cy="798719"/>
          </a:xfrm>
        </p:spPr>
        <p:txBody>
          <a:bodyPr/>
          <a:lstStyle>
            <a:lvl1pPr marL="0" indent="0" algn="r">
              <a:buNone/>
              <a:defRPr sz="6000" b="1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0BABAFA-FB2F-4CF8-B9B4-FF14EB29C4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81425" y="4656822"/>
            <a:ext cx="8174836" cy="798719"/>
          </a:xfrm>
        </p:spPr>
        <p:txBody>
          <a:bodyPr/>
          <a:lstStyle>
            <a:lvl1pPr marL="0" indent="0" algn="r">
              <a:buNone/>
              <a:defRPr sz="4400" b="0"/>
            </a:lvl1pPr>
          </a:lstStyle>
          <a:p>
            <a:pPr lvl="0"/>
            <a:r>
              <a:rPr lang="en-US" dirty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1177048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A49B73-2A24-4AD6-A77C-846FB6ABAE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556333-B02D-4558-93DA-3D2FFB626F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B7BEB4F-10F5-4C3E-80F9-43A846CDD0E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713" t="34733" r="32122" b="37486"/>
          <a:stretch/>
        </p:blipFill>
        <p:spPr>
          <a:xfrm rot="10800000">
            <a:off x="-1" y="-1"/>
            <a:ext cx="12191993" cy="416345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47DAD28-6036-4A9A-AB46-0E6EAD031DBA}"/>
              </a:ext>
            </a:extLst>
          </p:cNvPr>
          <p:cNvSpPr/>
          <p:nvPr userDrawn="1"/>
        </p:nvSpPr>
        <p:spPr>
          <a:xfrm>
            <a:off x="0" y="-2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478E777-B047-4010-A4A6-F851EAE1B51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5906" y="6238018"/>
            <a:ext cx="2200355" cy="34941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E53F85D-37B2-4D15-B361-9AB2EEE5061A}"/>
              </a:ext>
            </a:extLst>
          </p:cNvPr>
          <p:cNvSpPr txBox="1"/>
          <p:nvPr userDrawn="1"/>
        </p:nvSpPr>
        <p:spPr>
          <a:xfrm>
            <a:off x="1587423" y="5828247"/>
            <a:ext cx="7246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FULL POWER | Industrial Power Systems Divis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F0EE74D-871C-4403-A807-8F4652E5D158}"/>
              </a:ext>
            </a:extLst>
          </p:cNvPr>
          <p:cNvSpPr/>
          <p:nvPr userDrawn="1"/>
        </p:nvSpPr>
        <p:spPr>
          <a:xfrm>
            <a:off x="1587423" y="6248877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>
                <a:latin typeface="Arial Narrow" panose="020B0606020202030204" pitchFamily="34" charset="0"/>
                <a:cs typeface="Arial" panose="020B0604020202020204" pitchFamily="34" charset="0"/>
              </a:rPr>
              <a:t>© Proprietary Information of Caterpillar Inc. 2020 - All Rights Reserved</a:t>
            </a:r>
            <a:endParaRPr lang="es-US" sz="14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 descr="A picture containing object&#10;&#10;Description automatically generated">
            <a:extLst>
              <a:ext uri="{FF2B5EF4-FFF2-40B4-BE49-F238E27FC236}">
                <a16:creationId xmlns:a16="http://schemas.microsoft.com/office/drawing/2014/main" id="{768CCA08-B592-41F2-A903-931A54AA00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8"/>
          <a:stretch/>
        </p:blipFill>
        <p:spPr>
          <a:xfrm>
            <a:off x="80451" y="5340182"/>
            <a:ext cx="1506972" cy="1437794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2A382C1-A4C6-4E9D-927E-727FBAB4E6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81425" y="3712193"/>
            <a:ext cx="8174836" cy="798719"/>
          </a:xfrm>
        </p:spPr>
        <p:txBody>
          <a:bodyPr/>
          <a:lstStyle>
            <a:lvl1pPr marL="0" indent="0" algn="r">
              <a:buNone/>
              <a:defRPr sz="6000" b="1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E2B48E8-5688-4BB2-88CD-EB297A4F15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81425" y="4656822"/>
            <a:ext cx="8174836" cy="798719"/>
          </a:xfrm>
        </p:spPr>
        <p:txBody>
          <a:bodyPr/>
          <a:lstStyle>
            <a:lvl1pPr marL="0" indent="0" algn="r">
              <a:buNone/>
              <a:defRPr sz="4400" b="0"/>
            </a:lvl1pPr>
          </a:lstStyle>
          <a:p>
            <a:pPr lvl="0"/>
            <a:r>
              <a:rPr lang="en-US" dirty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338582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A49B73-2A24-4AD6-A77C-846FB6ABAE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556333-B02D-4558-93DA-3D2FFB626F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B7BEB4F-10F5-4C3E-80F9-43A846CDD0E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713" t="34733" r="32122" b="37486"/>
          <a:stretch/>
        </p:blipFill>
        <p:spPr>
          <a:xfrm rot="10800000">
            <a:off x="-11" y="-1"/>
            <a:ext cx="12192001" cy="416345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47DAD28-6036-4A9A-AB46-0E6EAD031DBA}"/>
              </a:ext>
            </a:extLst>
          </p:cNvPr>
          <p:cNvSpPr/>
          <p:nvPr userDrawn="1"/>
        </p:nvSpPr>
        <p:spPr>
          <a:xfrm>
            <a:off x="-20" y="-2"/>
            <a:ext cx="1219202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478E777-B047-4010-A4A6-F851EAE1B51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5906" y="6238018"/>
            <a:ext cx="2200355" cy="34941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B9D7446-CB31-4714-8028-FC4287C74A47}"/>
              </a:ext>
            </a:extLst>
          </p:cNvPr>
          <p:cNvSpPr txBox="1"/>
          <p:nvPr userDrawn="1"/>
        </p:nvSpPr>
        <p:spPr>
          <a:xfrm>
            <a:off x="1587423" y="5828247"/>
            <a:ext cx="7246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FULL POWER | Industrial Power Systems Divis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926982-11B8-49CE-92E1-F3775B93FA10}"/>
              </a:ext>
            </a:extLst>
          </p:cNvPr>
          <p:cNvSpPr/>
          <p:nvPr userDrawn="1"/>
        </p:nvSpPr>
        <p:spPr>
          <a:xfrm>
            <a:off x="1587423" y="6248877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>
                <a:latin typeface="Arial Narrow" panose="020B0606020202030204" pitchFamily="34" charset="0"/>
                <a:cs typeface="Arial" panose="020B0604020202020204" pitchFamily="34" charset="0"/>
              </a:rPr>
              <a:t>© Proprietary Information of Caterpillar Inc. 2020 - All Rights Reserved</a:t>
            </a:r>
            <a:endParaRPr lang="es-US" sz="14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A picture containing object&#10;&#10;Description automatically generated">
            <a:extLst>
              <a:ext uri="{FF2B5EF4-FFF2-40B4-BE49-F238E27FC236}">
                <a16:creationId xmlns:a16="http://schemas.microsoft.com/office/drawing/2014/main" id="{AA1F3441-2E98-4300-858E-7331E4CC9D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8"/>
          <a:stretch/>
        </p:blipFill>
        <p:spPr>
          <a:xfrm>
            <a:off x="80451" y="5340182"/>
            <a:ext cx="1506972" cy="1437794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B2F836A-E293-4640-88C9-A70486913A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81425" y="3712193"/>
            <a:ext cx="8174836" cy="798719"/>
          </a:xfrm>
        </p:spPr>
        <p:txBody>
          <a:bodyPr/>
          <a:lstStyle>
            <a:lvl1pPr marL="0" indent="0" algn="r">
              <a:buNone/>
              <a:defRPr sz="6000" b="1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2778BEB-AD05-42EC-BEE2-68F805F54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81425" y="4656822"/>
            <a:ext cx="8174836" cy="798719"/>
          </a:xfrm>
        </p:spPr>
        <p:txBody>
          <a:bodyPr/>
          <a:lstStyle>
            <a:lvl1pPr marL="0" indent="0" algn="r">
              <a:buNone/>
              <a:defRPr sz="4400" b="0"/>
            </a:lvl1pPr>
          </a:lstStyle>
          <a:p>
            <a:pPr lvl="0"/>
            <a:r>
              <a:rPr lang="en-US" dirty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25511875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A49B73-2A24-4AD6-A77C-846FB6ABAE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478E777-B047-4010-A4A6-F851EAE1B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5906" y="6238018"/>
            <a:ext cx="2200355" cy="3494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5D74FC-AB60-424B-B407-25BB466A7F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" t="1857" r="6648" b="5983"/>
          <a:stretch/>
        </p:blipFill>
        <p:spPr>
          <a:xfrm>
            <a:off x="-160406" y="0"/>
            <a:ext cx="1235240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22E5CF-7A3A-4B87-B1F3-855B91642B23}"/>
              </a:ext>
            </a:extLst>
          </p:cNvPr>
          <p:cNvSpPr/>
          <p:nvPr/>
        </p:nvSpPr>
        <p:spPr>
          <a:xfrm>
            <a:off x="-160405" y="0"/>
            <a:ext cx="12352405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616E73-8968-465D-88A2-FDD2AFCDCCA4}"/>
              </a:ext>
            </a:extLst>
          </p:cNvPr>
          <p:cNvSpPr txBox="1"/>
          <p:nvPr userDrawn="1"/>
        </p:nvSpPr>
        <p:spPr>
          <a:xfrm>
            <a:off x="5233737" y="1981983"/>
            <a:ext cx="69582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200" b="1" dirty="0">
                <a:latin typeface="Arial Narrow" panose="020B0606020202030204" pitchFamily="34" charset="0"/>
                <a:cs typeface="Arial" panose="020B0604020202020204" pitchFamily="34" charset="0"/>
              </a:rPr>
              <a:t>Transition Slid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07BA50-FEA6-4495-885B-E5EAC8C15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713" t="34733" r="32122" b="37486"/>
          <a:stretch/>
        </p:blipFill>
        <p:spPr>
          <a:xfrm rot="10800000">
            <a:off x="-160416" y="-1"/>
            <a:ext cx="12352407" cy="416346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7C63698-4F17-498D-A19A-CE05A4EE0EE2}"/>
              </a:ext>
            </a:extLst>
          </p:cNvPr>
          <p:cNvSpPr txBox="1"/>
          <p:nvPr userDrawn="1"/>
        </p:nvSpPr>
        <p:spPr>
          <a:xfrm>
            <a:off x="9554720" y="5683780"/>
            <a:ext cx="2637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FULL POWER | IPS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B3156A-F96A-4435-911A-8DC77D20B619}"/>
              </a:ext>
            </a:extLst>
          </p:cNvPr>
          <p:cNvSpPr/>
          <p:nvPr userDrawn="1"/>
        </p:nvSpPr>
        <p:spPr>
          <a:xfrm>
            <a:off x="9554720" y="6085730"/>
            <a:ext cx="254793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Arial Narrow" panose="020B0606020202030204" pitchFamily="34" charset="0"/>
                <a:cs typeface="Arial" panose="020B0604020202020204" pitchFamily="34" charset="0"/>
              </a:rPr>
              <a:t>© Proprietary Information of Caterpillar Inc. 2020 - All Rights Reserved</a:t>
            </a:r>
            <a:endParaRPr lang="es-US" sz="11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A picture containing object&#10;&#10;Description automatically generated">
            <a:extLst>
              <a:ext uri="{FF2B5EF4-FFF2-40B4-BE49-F238E27FC236}">
                <a16:creationId xmlns:a16="http://schemas.microsoft.com/office/drawing/2014/main" id="{C70EB17C-14B2-4A59-AE6D-7E1D998E30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8"/>
          <a:stretch/>
        </p:blipFill>
        <p:spPr>
          <a:xfrm>
            <a:off x="8344423" y="5486465"/>
            <a:ext cx="1256195" cy="119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407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A49B73-2A24-4AD6-A77C-846FB6ABAE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478E777-B047-4010-A4A6-F851EAE1B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5906" y="6238018"/>
            <a:ext cx="2200355" cy="3494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5D74FC-AB60-424B-B407-25BB466A7F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92" t="1857" r="6648" b="5983"/>
          <a:stretch/>
        </p:blipFill>
        <p:spPr>
          <a:xfrm>
            <a:off x="-160406" y="0"/>
            <a:ext cx="1235240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22E5CF-7A3A-4B87-B1F3-855B91642B23}"/>
              </a:ext>
            </a:extLst>
          </p:cNvPr>
          <p:cNvSpPr/>
          <p:nvPr/>
        </p:nvSpPr>
        <p:spPr>
          <a:xfrm>
            <a:off x="-160416" y="32455"/>
            <a:ext cx="12352407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616E73-8968-465D-88A2-FDD2AFCDCCA4}"/>
              </a:ext>
            </a:extLst>
          </p:cNvPr>
          <p:cNvSpPr txBox="1"/>
          <p:nvPr userDrawn="1"/>
        </p:nvSpPr>
        <p:spPr>
          <a:xfrm>
            <a:off x="5233737" y="1981983"/>
            <a:ext cx="69582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200" b="1" dirty="0">
                <a:latin typeface="Arial Narrow" panose="020B0606020202030204" pitchFamily="34" charset="0"/>
                <a:cs typeface="Arial" panose="020B0604020202020204" pitchFamily="34" charset="0"/>
              </a:rPr>
              <a:t>Transition Slid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07BA50-FEA6-4495-885B-E5EAC8C15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713" t="34733" r="32122" b="37486"/>
          <a:stretch/>
        </p:blipFill>
        <p:spPr>
          <a:xfrm rot="10800000">
            <a:off x="-160416" y="-1"/>
            <a:ext cx="12352407" cy="416346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D1C7C30-34BC-4F80-B45D-EA20B0CC17CB}"/>
              </a:ext>
            </a:extLst>
          </p:cNvPr>
          <p:cNvSpPr txBox="1"/>
          <p:nvPr userDrawn="1"/>
        </p:nvSpPr>
        <p:spPr>
          <a:xfrm>
            <a:off x="9554720" y="5683780"/>
            <a:ext cx="2637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FULL POWER | IPS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C4E9A7E-F901-41B1-8E97-C9E579A9500F}"/>
              </a:ext>
            </a:extLst>
          </p:cNvPr>
          <p:cNvSpPr/>
          <p:nvPr userDrawn="1"/>
        </p:nvSpPr>
        <p:spPr>
          <a:xfrm>
            <a:off x="9554720" y="6085730"/>
            <a:ext cx="254793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Arial Narrow" panose="020B0606020202030204" pitchFamily="34" charset="0"/>
                <a:cs typeface="Arial" panose="020B0604020202020204" pitchFamily="34" charset="0"/>
              </a:rPr>
              <a:t>© Proprietary Information of Caterpillar Inc. 2020 - All Rights Reserved</a:t>
            </a:r>
            <a:endParaRPr lang="es-US" sz="11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id="{F59623EE-C0D5-429F-B165-BE806FD04F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8"/>
          <a:stretch/>
        </p:blipFill>
        <p:spPr>
          <a:xfrm>
            <a:off x="8344423" y="5486465"/>
            <a:ext cx="1256195" cy="119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6745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A49B73-2A24-4AD6-A77C-846FB6ABAE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478E777-B047-4010-A4A6-F851EAE1B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5906" y="6238018"/>
            <a:ext cx="2200355" cy="3494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5D74FC-AB60-424B-B407-25BB466A7F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04" y="0"/>
            <a:ext cx="13325643" cy="749567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22E5CF-7A3A-4B87-B1F3-855B91642B23}"/>
              </a:ext>
            </a:extLst>
          </p:cNvPr>
          <p:cNvSpPr/>
          <p:nvPr/>
        </p:nvSpPr>
        <p:spPr>
          <a:xfrm>
            <a:off x="8457976" y="2060672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616E73-8968-465D-88A2-FDD2AFCDCCA4}"/>
              </a:ext>
            </a:extLst>
          </p:cNvPr>
          <p:cNvSpPr txBox="1"/>
          <p:nvPr userDrawn="1"/>
        </p:nvSpPr>
        <p:spPr>
          <a:xfrm>
            <a:off x="5233737" y="1981983"/>
            <a:ext cx="69582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200" b="1" dirty="0">
                <a:latin typeface="Arial Narrow" panose="020B0606020202030204" pitchFamily="34" charset="0"/>
                <a:cs typeface="Arial" panose="020B0604020202020204" pitchFamily="34" charset="0"/>
              </a:rPr>
              <a:t>Transition Slid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07BA50-FEA6-4495-885B-E5EAC8C15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713" t="34733" r="32122" b="37486"/>
          <a:stretch/>
        </p:blipFill>
        <p:spPr>
          <a:xfrm rot="10800000">
            <a:off x="-160416" y="-1"/>
            <a:ext cx="12352407" cy="416346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4F2337B-8676-4A8A-AA04-D8B9F703B9A0}"/>
              </a:ext>
            </a:extLst>
          </p:cNvPr>
          <p:cNvSpPr txBox="1"/>
          <p:nvPr userDrawn="1"/>
        </p:nvSpPr>
        <p:spPr>
          <a:xfrm>
            <a:off x="9554720" y="5683780"/>
            <a:ext cx="2637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FULL POWER | IPS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A26464-B862-4964-A833-7533A7C21DF4}"/>
              </a:ext>
            </a:extLst>
          </p:cNvPr>
          <p:cNvSpPr/>
          <p:nvPr userDrawn="1"/>
        </p:nvSpPr>
        <p:spPr>
          <a:xfrm>
            <a:off x="9554720" y="6085730"/>
            <a:ext cx="254793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Arial Narrow" panose="020B0606020202030204" pitchFamily="34" charset="0"/>
                <a:cs typeface="Arial" panose="020B0604020202020204" pitchFamily="34" charset="0"/>
              </a:rPr>
              <a:t>© Proprietary Information of Caterpillar Inc. 2020 - All Rights Reserved</a:t>
            </a:r>
            <a:endParaRPr lang="es-US" sz="11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id="{9CE3B41D-656E-4235-AEB0-C23257E445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8"/>
          <a:stretch/>
        </p:blipFill>
        <p:spPr>
          <a:xfrm>
            <a:off x="8344423" y="5486465"/>
            <a:ext cx="1256195" cy="119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93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A49B73-2A24-4AD6-A77C-846FB6ABAE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478E777-B047-4010-A4A6-F851EAE1B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5906" y="6238018"/>
            <a:ext cx="2200355" cy="3494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5D74FC-AB60-424B-B407-25BB466A7F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04" y="0"/>
            <a:ext cx="13325643" cy="749567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22E5CF-7A3A-4B87-B1F3-855B91642B23}"/>
              </a:ext>
            </a:extLst>
          </p:cNvPr>
          <p:cNvSpPr/>
          <p:nvPr/>
        </p:nvSpPr>
        <p:spPr>
          <a:xfrm>
            <a:off x="8457976" y="2060672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616E73-8968-465D-88A2-FDD2AFCDCCA4}"/>
              </a:ext>
            </a:extLst>
          </p:cNvPr>
          <p:cNvSpPr txBox="1"/>
          <p:nvPr userDrawn="1"/>
        </p:nvSpPr>
        <p:spPr>
          <a:xfrm>
            <a:off x="5233737" y="1981983"/>
            <a:ext cx="69582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200" b="1" dirty="0">
                <a:latin typeface="Arial Narrow" panose="020B0606020202030204" pitchFamily="34" charset="0"/>
                <a:cs typeface="Arial" panose="020B0604020202020204" pitchFamily="34" charset="0"/>
              </a:rPr>
              <a:t>Transition Slid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07BA50-FEA6-4495-885B-E5EAC8C15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713" t="34733" r="32122" b="37486"/>
          <a:stretch/>
        </p:blipFill>
        <p:spPr>
          <a:xfrm rot="10800000">
            <a:off x="-160416" y="-1"/>
            <a:ext cx="12352407" cy="416346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16AF63C-890A-4CC8-B4EC-4CB0E9A45E1E}"/>
              </a:ext>
            </a:extLst>
          </p:cNvPr>
          <p:cNvSpPr txBox="1"/>
          <p:nvPr userDrawn="1"/>
        </p:nvSpPr>
        <p:spPr>
          <a:xfrm>
            <a:off x="9554720" y="5683780"/>
            <a:ext cx="26372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 Narrow" panose="020B0606020202030204" pitchFamily="34" charset="0"/>
              </a:rPr>
              <a:t>FULL POWER | IPS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BC5E99-D0EB-48BF-AF64-5311601363F5}"/>
              </a:ext>
            </a:extLst>
          </p:cNvPr>
          <p:cNvSpPr/>
          <p:nvPr userDrawn="1"/>
        </p:nvSpPr>
        <p:spPr>
          <a:xfrm>
            <a:off x="9554720" y="6085730"/>
            <a:ext cx="254793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latin typeface="Arial Narrow" panose="020B0606020202030204" pitchFamily="34" charset="0"/>
                <a:cs typeface="Arial" panose="020B0604020202020204" pitchFamily="34" charset="0"/>
              </a:rPr>
              <a:t>© Proprietary Information of Caterpillar Inc. 2020 - All Rights Reserved</a:t>
            </a:r>
            <a:endParaRPr lang="es-US" sz="11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object&#10;&#10;Description automatically generated">
            <a:extLst>
              <a:ext uri="{FF2B5EF4-FFF2-40B4-BE49-F238E27FC236}">
                <a16:creationId xmlns:a16="http://schemas.microsoft.com/office/drawing/2014/main" id="{59731735-8AC6-42D7-998B-3681DB4187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8"/>
          <a:stretch/>
        </p:blipFill>
        <p:spPr>
          <a:xfrm>
            <a:off x="8344423" y="5486465"/>
            <a:ext cx="1256195" cy="119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404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4125A-8AF1-4CBF-A898-9F4A5EC099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4125A-8AF1-4CBF-A898-9F4A5EC09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786CA6-F631-41C8-B9A9-6A74D4175F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005993C-ABFA-4588-AE56-4680FF3A3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1187"/>
            <a:ext cx="10972799" cy="599138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5777CF0-C2DB-4509-8739-E1AEC83190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185130"/>
            <a:ext cx="10972799" cy="4447849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06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C6304E-0197-4762-B3DA-A3854A1004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C6304E-0197-4762-B3DA-A3854A100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741164-A120-4B16-A2F4-9ADED366B6C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3F7F6734-CB77-D14A-ABD0-52D1FE4A000A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5984785" y="-5984790"/>
            <a:ext cx="222429" cy="12192002"/>
          </a:xfrm>
          <a:custGeom>
            <a:avLst/>
            <a:gdLst>
              <a:gd name="T0" fmla="*/ 0 w 11981"/>
              <a:gd name="T1" fmla="*/ 226 h 226"/>
              <a:gd name="T2" fmla="*/ 0 w 11981"/>
              <a:gd name="T3" fmla="*/ 226 h 226"/>
              <a:gd name="T4" fmla="*/ 11981 w 11981"/>
              <a:gd name="T5" fmla="*/ 226 h 226"/>
              <a:gd name="T6" fmla="*/ 11981 w 11981"/>
              <a:gd name="T7" fmla="*/ 0 h 226"/>
              <a:gd name="T8" fmla="*/ 0 w 11981"/>
              <a:gd name="T9" fmla="*/ 0 h 226"/>
              <a:gd name="T10" fmla="*/ 0 w 11981"/>
              <a:gd name="T11" fmla="*/ 226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981" h="226">
                <a:moveTo>
                  <a:pt x="0" y="226"/>
                </a:moveTo>
                <a:lnTo>
                  <a:pt x="0" y="226"/>
                </a:lnTo>
                <a:lnTo>
                  <a:pt x="11981" y="226"/>
                </a:lnTo>
                <a:lnTo>
                  <a:pt x="11981" y="0"/>
                </a:lnTo>
                <a:lnTo>
                  <a:pt x="0" y="0"/>
                </a:lnTo>
                <a:lnTo>
                  <a:pt x="0" y="22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1080000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1F38DA4-2CB4-3B4F-BD7C-4AAE1D6CDF2A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3253" y="6272376"/>
            <a:ext cx="1418575" cy="22476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1187"/>
            <a:ext cx="10972799" cy="599138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85130"/>
            <a:ext cx="10972799" cy="4447849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AF8120E-F0BF-E14D-8B08-BFDF9F391D5B}"/>
              </a:ext>
            </a:extLst>
          </p:cNvPr>
          <p:cNvSpPr txBox="1">
            <a:spLocks/>
          </p:cNvSpPr>
          <p:nvPr userDrawn="1"/>
        </p:nvSpPr>
        <p:spPr>
          <a:xfrm>
            <a:off x="11734800" y="6276672"/>
            <a:ext cx="457198" cy="21832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9C32B75-C9DC-44AF-9338-F96EE99144A7}" type="slidenum">
              <a:rPr lang="en-US" sz="1200" smtClean="0">
                <a:solidFill>
                  <a:srgbClr val="000000"/>
                </a:solidFill>
                <a:latin typeface="Arial Narrow" panose="020B0606020202030204" pitchFamily="34" charset="0"/>
                <a:cs typeface="Arial"/>
              </a:rPr>
              <a:pPr>
                <a:defRPr/>
              </a:pPr>
              <a:t>‹#›</a:t>
            </a:fld>
            <a:endParaRPr lang="en-US" sz="100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F49D0D-C979-4430-8497-6FA5F5EE2D17}"/>
              </a:ext>
            </a:extLst>
          </p:cNvPr>
          <p:cNvSpPr txBox="1"/>
          <p:nvPr userDrawn="1"/>
        </p:nvSpPr>
        <p:spPr>
          <a:xfrm>
            <a:off x="856034" y="5965190"/>
            <a:ext cx="7246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Arial Narrow" panose="020B0606020202030204" pitchFamily="34" charset="0"/>
              </a:rPr>
              <a:t>FULL POWER | Industrial Power Systems Divis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E64C9F6-E158-4F8A-9CF0-9B96934076A8}"/>
              </a:ext>
            </a:extLst>
          </p:cNvPr>
          <p:cNvSpPr/>
          <p:nvPr userDrawn="1"/>
        </p:nvSpPr>
        <p:spPr>
          <a:xfrm>
            <a:off x="856034" y="6233388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50" b="1" dirty="0">
                <a:latin typeface="Arial Narrow" panose="020B0606020202030204" pitchFamily="34" charset="0"/>
                <a:cs typeface="Arial" panose="020B0604020202020204" pitchFamily="34" charset="0"/>
              </a:rPr>
              <a:t>© Proprietary Information of Caterpillar Inc. 2020 - All Rights Reserved</a:t>
            </a:r>
            <a:endParaRPr lang="es-US" sz="105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A86153B-9C3C-4D26-AAA3-756495EF7B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>
            <a:alphaModFix amt="16000"/>
          </a:blip>
          <a:srcRect l="50225" t="9267"/>
          <a:stretch/>
        </p:blipFill>
        <p:spPr>
          <a:xfrm flipH="1">
            <a:off x="7072694" y="1408725"/>
            <a:ext cx="3328487" cy="3733801"/>
          </a:xfrm>
          <a:prstGeom prst="rect">
            <a:avLst/>
          </a:prstGeom>
        </p:spPr>
      </p:pic>
      <p:pic>
        <p:nvPicPr>
          <p:cNvPr id="6" name="Picture 5" descr="A picture containing object&#10;&#10;Description automatically generated">
            <a:extLst>
              <a:ext uri="{FF2B5EF4-FFF2-40B4-BE49-F238E27FC236}">
                <a16:creationId xmlns:a16="http://schemas.microsoft.com/office/drawing/2014/main" id="{39DCE2B2-3D76-4E6E-AAF9-887255EA9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8"/>
          <a:stretch/>
        </p:blipFill>
        <p:spPr>
          <a:xfrm>
            <a:off x="80439" y="5855665"/>
            <a:ext cx="775595" cy="739991"/>
          </a:xfrm>
          <a:prstGeom prst="rect">
            <a:avLst/>
          </a:prstGeom>
        </p:spPr>
      </p:pic>
      <p:sp>
        <p:nvSpPr>
          <p:cNvPr id="8" name="MSIPCMContentMarking" descr="{&quot;HashCode&quot;:135238423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8D3CA5DE-0473-4904-A995-9D9F74CA48FA}"/>
              </a:ext>
            </a:extLst>
          </p:cNvPr>
          <p:cNvSpPr txBox="1"/>
          <p:nvPr userDrawn="1"/>
        </p:nvSpPr>
        <p:spPr>
          <a:xfrm>
            <a:off x="0" y="6595656"/>
            <a:ext cx="188225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Caterpillar: Confidential Green</a:t>
            </a:r>
            <a:endParaRPr lang="en-US" sz="1000" dirty="0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086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3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1717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>
          <p15:clr>
            <a:srgbClr val="F26B43"/>
          </p15:clr>
        </p15:guide>
        <p15:guide id="2" pos="7296">
          <p15:clr>
            <a:srgbClr val="F26B43"/>
          </p15:clr>
        </p15:guide>
        <p15:guide id="4" pos="384">
          <p15:clr>
            <a:srgbClr val="F26B43"/>
          </p15:clr>
        </p15:guide>
        <p15:guide id="5" pos="3840">
          <p15:clr>
            <a:srgbClr val="F26B43"/>
          </p15:clr>
        </p15:guide>
        <p15:guide id="7" orient="horz" pos="40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AB5E8A-2D3D-4D1A-9C4E-0B94C03EC2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1151" y="3712193"/>
            <a:ext cx="8915110" cy="798719"/>
          </a:xfrm>
        </p:spPr>
        <p:txBody>
          <a:bodyPr/>
          <a:lstStyle/>
          <a:p>
            <a:r>
              <a:rPr lang="en-US" dirty="0"/>
              <a:t>Measure Box design ideas </a:t>
            </a:r>
            <a:r>
              <a:rPr lang="en-US" altLang="zh-CN" dirty="0"/>
              <a:t>V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2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E6F76C-75A2-4121-B7AF-051E13714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06" y="247667"/>
            <a:ext cx="10972799" cy="599138"/>
          </a:xfrm>
        </p:spPr>
        <p:txBody>
          <a:bodyPr/>
          <a:lstStyle/>
          <a:p>
            <a:r>
              <a:rPr lang="en-US" dirty="0"/>
              <a:t>Rending A</a:t>
            </a:r>
          </a:p>
        </p:txBody>
      </p:sp>
      <p:pic>
        <p:nvPicPr>
          <p:cNvPr id="5" name="图片 4" descr="图片包含 室内, 厨房, 建筑, 桌子&#10;&#10;描述已自动生成">
            <a:extLst>
              <a:ext uri="{FF2B5EF4-FFF2-40B4-BE49-F238E27FC236}">
                <a16:creationId xmlns:a16="http://schemas.microsoft.com/office/drawing/2014/main" id="{F5CED7AF-B52D-43B7-A3C7-2F7939CB132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70" t="3654" r="25131" b="21404"/>
          <a:stretch/>
        </p:blipFill>
        <p:spPr>
          <a:xfrm>
            <a:off x="1412696" y="945430"/>
            <a:ext cx="9366607" cy="4967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9745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E6F76C-75A2-4121-B7AF-051E13714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06" y="247667"/>
            <a:ext cx="10972799" cy="599138"/>
          </a:xfrm>
        </p:spPr>
        <p:txBody>
          <a:bodyPr/>
          <a:lstStyle/>
          <a:p>
            <a:r>
              <a:rPr lang="en-US" dirty="0"/>
              <a:t>Size</a:t>
            </a:r>
          </a:p>
        </p:txBody>
      </p:sp>
      <p:graphicFrame>
        <p:nvGraphicFramePr>
          <p:cNvPr id="6" name="表格 6">
            <a:extLst>
              <a:ext uri="{FF2B5EF4-FFF2-40B4-BE49-F238E27FC236}">
                <a16:creationId xmlns:a16="http://schemas.microsoft.com/office/drawing/2014/main" id="{66984E10-2473-4535-B98D-B486063016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393669"/>
              </p:ext>
            </p:extLst>
          </p:nvPr>
        </p:nvGraphicFramePr>
        <p:xfrm>
          <a:off x="8925960" y="2589088"/>
          <a:ext cx="2961240" cy="1581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6683">
                  <a:extLst>
                    <a:ext uri="{9D8B030D-6E8A-4147-A177-3AD203B41FA5}">
                      <a16:colId xmlns:a16="http://schemas.microsoft.com/office/drawing/2014/main" val="1220120451"/>
                    </a:ext>
                  </a:extLst>
                </a:gridCol>
                <a:gridCol w="2044557">
                  <a:extLst>
                    <a:ext uri="{9D8B030D-6E8A-4147-A177-3AD203B41FA5}">
                      <a16:colId xmlns:a16="http://schemas.microsoft.com/office/drawing/2014/main" val="2227209094"/>
                    </a:ext>
                  </a:extLst>
                </a:gridCol>
              </a:tblGrid>
              <a:tr h="395398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Size</a:t>
                      </a:r>
                      <a:endParaRPr lang="zh-CN" alt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331650"/>
                  </a:ext>
                </a:extLst>
              </a:tr>
              <a:tr h="395398">
                <a:tc>
                  <a:txBody>
                    <a:bodyPr/>
                    <a:lstStyle/>
                    <a:p>
                      <a:r>
                        <a:rPr lang="en-US" altLang="zh-CN" dirty="0" err="1"/>
                        <a:t>Lenght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86mm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98155785"/>
                  </a:ext>
                </a:extLst>
              </a:tr>
              <a:tr h="395398">
                <a:tc>
                  <a:txBody>
                    <a:bodyPr/>
                    <a:lstStyle/>
                    <a:p>
                      <a:r>
                        <a:rPr lang="en-US" altLang="zh-CN" dirty="0"/>
                        <a:t>Wide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88.5mm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9196157"/>
                  </a:ext>
                </a:extLst>
              </a:tr>
              <a:tr h="395398">
                <a:tc>
                  <a:txBody>
                    <a:bodyPr/>
                    <a:lstStyle/>
                    <a:p>
                      <a:r>
                        <a:rPr lang="en-US" altLang="zh-CN" dirty="0"/>
                        <a:t>High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26.1mm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6068457"/>
                  </a:ext>
                </a:extLst>
              </a:tr>
            </a:tbl>
          </a:graphicData>
        </a:graphic>
      </p:graphicFrame>
      <p:pic>
        <p:nvPicPr>
          <p:cNvPr id="5" name="图片 4" descr="图形用户界面, 图示&#10;&#10;描述已自动生成">
            <a:extLst>
              <a:ext uri="{FF2B5EF4-FFF2-40B4-BE49-F238E27FC236}">
                <a16:creationId xmlns:a16="http://schemas.microsoft.com/office/drawing/2014/main" id="{D62ACAE3-A513-4B22-A3D0-C9855AE998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697" y="1281859"/>
            <a:ext cx="8253263" cy="4294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6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E6F76C-75A2-4121-B7AF-051E13714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06" y="247667"/>
            <a:ext cx="10972799" cy="599138"/>
          </a:xfrm>
        </p:spPr>
        <p:txBody>
          <a:bodyPr/>
          <a:lstStyle/>
          <a:p>
            <a:r>
              <a:rPr lang="en-US" altLang="zh-CN" dirty="0"/>
              <a:t> Picture A</a:t>
            </a:r>
            <a:endParaRPr lang="en-US" dirty="0"/>
          </a:p>
        </p:txBody>
      </p:sp>
      <p:pic>
        <p:nvPicPr>
          <p:cNvPr id="5" name="图片 4" descr="图形用户界面, 图示&#10;&#10;描述已自动生成">
            <a:extLst>
              <a:ext uri="{FF2B5EF4-FFF2-40B4-BE49-F238E27FC236}">
                <a16:creationId xmlns:a16="http://schemas.microsoft.com/office/drawing/2014/main" id="{E44D9B01-700D-4DB4-9418-BE18F8E98C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661" y="846805"/>
            <a:ext cx="10050678" cy="5229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21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E6F76C-75A2-4121-B7AF-051E13714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06" y="247667"/>
            <a:ext cx="10972799" cy="599138"/>
          </a:xfrm>
        </p:spPr>
        <p:txBody>
          <a:bodyPr/>
          <a:lstStyle/>
          <a:p>
            <a:r>
              <a:rPr lang="en-US" altLang="zh-CN" dirty="0"/>
              <a:t> Picture B</a:t>
            </a:r>
            <a:endParaRPr lang="en-US" dirty="0"/>
          </a:p>
        </p:txBody>
      </p:sp>
      <p:pic>
        <p:nvPicPr>
          <p:cNvPr id="3" name="图片 2" descr="卡通人物&#10;&#10;描述已自动生成">
            <a:extLst>
              <a:ext uri="{FF2B5EF4-FFF2-40B4-BE49-F238E27FC236}">
                <a16:creationId xmlns:a16="http://schemas.microsoft.com/office/drawing/2014/main" id="{95185348-9BAD-4E44-9E2A-DE32427E5A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406" y="1081420"/>
            <a:ext cx="10893187" cy="469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6631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E6F76C-75A2-4121-B7AF-051E13714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06" y="247667"/>
            <a:ext cx="10972799" cy="599138"/>
          </a:xfrm>
        </p:spPr>
        <p:txBody>
          <a:bodyPr/>
          <a:lstStyle/>
          <a:p>
            <a:r>
              <a:rPr lang="en-US" altLang="zh-CN" dirty="0"/>
              <a:t> Picture C</a:t>
            </a:r>
            <a:br>
              <a:rPr lang="en-US" altLang="zh-CN" dirty="0"/>
            </a:br>
            <a:endParaRPr lang="en-US" dirty="0"/>
          </a:p>
        </p:txBody>
      </p:sp>
      <p:pic>
        <p:nvPicPr>
          <p:cNvPr id="7" name="图片 6" descr="卡通人物&#10;&#10;描述已自动生成">
            <a:extLst>
              <a:ext uri="{FF2B5EF4-FFF2-40B4-BE49-F238E27FC236}">
                <a16:creationId xmlns:a16="http://schemas.microsoft.com/office/drawing/2014/main" id="{45D0ACA6-4293-4430-A3C4-89A7A0E6D2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526" y="859689"/>
            <a:ext cx="10078948" cy="513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014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E6F76C-75A2-4121-B7AF-051E13714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06" y="247667"/>
            <a:ext cx="10972799" cy="599138"/>
          </a:xfrm>
        </p:spPr>
        <p:txBody>
          <a:bodyPr/>
          <a:lstStyle/>
          <a:p>
            <a:r>
              <a:rPr lang="en-US" altLang="zh-CN" dirty="0"/>
              <a:t> Picture D</a:t>
            </a:r>
            <a:br>
              <a:rPr lang="en-US" altLang="zh-CN" dirty="0"/>
            </a:br>
            <a:endParaRPr 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C5CAF01-04C6-4687-BA6F-5522AB4074C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60" r="16127"/>
          <a:stretch/>
        </p:blipFill>
        <p:spPr>
          <a:xfrm>
            <a:off x="2469223" y="786100"/>
            <a:ext cx="7253554" cy="52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698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0U0BUCSNWvfSEiQ00l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weqhN7u5yn8dCw.cf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ykfOAxuKJ8ApUS49AH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CW2Cb4Hko__ac51G7p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&amp;E Model Theme">
  <a:themeElements>
    <a:clrScheme name="SLTF">
      <a:dk1>
        <a:srgbClr val="000000"/>
      </a:dk1>
      <a:lt1>
        <a:srgbClr val="FFFFFF"/>
      </a:lt1>
      <a:dk2>
        <a:srgbClr val="000000"/>
      </a:dk2>
      <a:lt2>
        <a:srgbClr val="FFCD11"/>
      </a:lt2>
      <a:accent1>
        <a:srgbClr val="FFCD11"/>
      </a:accent1>
      <a:accent2>
        <a:srgbClr val="F2B025"/>
      </a:accent2>
      <a:accent3>
        <a:srgbClr val="FEE646"/>
      </a:accent3>
      <a:accent4>
        <a:srgbClr val="032236"/>
      </a:accent4>
      <a:accent5>
        <a:srgbClr val="284B5D"/>
      </a:accent5>
      <a:accent6>
        <a:srgbClr val="B3BFC5"/>
      </a:accent6>
      <a:hlink>
        <a:srgbClr val="FFCF0F"/>
      </a:hlink>
      <a:folHlink>
        <a:srgbClr val="FFCD1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r">
          <a:defRPr sz="5400" dirty="0">
            <a:latin typeface="Arial Narrow" panose="020B0606020202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PSD_FullPower_V3" id="{2F2AFA08-6DE4-42FA-A985-D9C5B0B97AAA}" vid="{7567CC93-9048-4B50-AAA8-01903AB52E9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A4B3B2D1BDA8468F01C46AB2334AE9" ma:contentTypeVersion="13" ma:contentTypeDescription="Create a new document." ma:contentTypeScope="" ma:versionID="5e3fbf7d57b1e8f6ded4780ba625c9df">
  <xsd:schema xmlns:xsd="http://www.w3.org/2001/XMLSchema" xmlns:xs="http://www.w3.org/2001/XMLSchema" xmlns:p="http://schemas.microsoft.com/office/2006/metadata/properties" xmlns:ns2="15c8b8bd-c4f2-4e94-8329-5794ab262aa9" xmlns:ns3="a901536d-f24c-4825-bccb-f00a5ca9c5c5" targetNamespace="http://schemas.microsoft.com/office/2006/metadata/properties" ma:root="true" ma:fieldsID="ff60952a04b6bfb56f54b89e9c4b4dfa" ns2:_="" ns3:_="">
    <xsd:import namespace="15c8b8bd-c4f2-4e94-8329-5794ab262aa9"/>
    <xsd:import namespace="a901536d-f24c-4825-bccb-f00a5ca9c5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c8b8bd-c4f2-4e94-8329-5794ab262a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01536d-f24c-4825-bccb-f00a5ca9c5c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1D55A9-F140-4151-B209-592EE98DB7F6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96edbb8b-5bf8-4569-b8ed-418c52d5922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301D7EB-71D7-49F8-BF81-C0A3F87D807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F037B84-2953-46E2-8A2A-5820CD831F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c8b8bd-c4f2-4e94-8329-5794ab262aa9"/>
    <ds:schemaRef ds:uri="a901536d-f24c-4825-bccb-f00a5ca9c5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psd_template_widescreen</Template>
  <TotalTime>19099</TotalTime>
  <Words>29</Words>
  <Application>Microsoft Office PowerPoint</Application>
  <PresentationFormat>宽屏</PresentationFormat>
  <Paragraphs>14</Paragraphs>
  <Slides>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4" baseType="lpstr">
      <vt:lpstr>Arial</vt:lpstr>
      <vt:lpstr>Arial Black</vt:lpstr>
      <vt:lpstr>Arial Narrow</vt:lpstr>
      <vt:lpstr>Calibri</vt:lpstr>
      <vt:lpstr>Wingdings</vt:lpstr>
      <vt:lpstr>O&amp;E Model Theme</vt:lpstr>
      <vt:lpstr>think-cell Slide</vt:lpstr>
      <vt:lpstr>PowerPoint 演示文稿</vt:lpstr>
      <vt:lpstr>Rending A</vt:lpstr>
      <vt:lpstr>Size</vt:lpstr>
      <vt:lpstr> Picture A</vt:lpstr>
      <vt:lpstr> Picture B</vt:lpstr>
      <vt:lpstr> Picture C </vt:lpstr>
      <vt:lpstr> Picture D </vt:lpstr>
    </vt:vector>
  </TitlesOfParts>
  <Company>Caterpillar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n Methodology Deployment Governance</dc:title>
  <dc:creator>Colin Houghton</dc:creator>
  <cp:lastModifiedBy>Zhe Ma</cp:lastModifiedBy>
  <cp:revision>101</cp:revision>
  <dcterms:created xsi:type="dcterms:W3CDTF">2018-01-10T08:48:41Z</dcterms:created>
  <dcterms:modified xsi:type="dcterms:W3CDTF">2021-12-22T02:0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b5e2db6-eecf-4aa2-8fc3-174bf94bce19_Enabled">
    <vt:lpwstr>True</vt:lpwstr>
  </property>
  <property fmtid="{D5CDD505-2E9C-101B-9397-08002B2CF9AE}" pid="3" name="MSIP_Label_fb5e2db6-eecf-4aa2-8fc3-174bf94bce19_SiteId">
    <vt:lpwstr>ceb177bf-013b-49ab-8a9c-4abce32afc1e</vt:lpwstr>
  </property>
  <property fmtid="{D5CDD505-2E9C-101B-9397-08002B2CF9AE}" pid="4" name="MSIP_Label_fb5e2db6-eecf-4aa2-8fc3-174bf94bce19_Ref">
    <vt:lpwstr>https://api.informationprotection.azure.com/api/ceb177bf-013b-49ab-8a9c-4abce32afc1e</vt:lpwstr>
  </property>
  <property fmtid="{D5CDD505-2E9C-101B-9397-08002B2CF9AE}" pid="5" name="MSIP_Label_fb5e2db6-eecf-4aa2-8fc3-174bf94bce19_SetDate">
    <vt:lpwstr>2018-05-08T15:58:42.6102561+01:00</vt:lpwstr>
  </property>
  <property fmtid="{D5CDD505-2E9C-101B-9397-08002B2CF9AE}" pid="6" name="MSIP_Label_fb5e2db6-eecf-4aa2-8fc3-174bf94bce19_Name">
    <vt:lpwstr>Cat Confidential Green</vt:lpwstr>
  </property>
  <property fmtid="{D5CDD505-2E9C-101B-9397-08002B2CF9AE}" pid="7" name="MSIP_Label_fb5e2db6-eecf-4aa2-8fc3-174bf94bce19_Extended_MSFT_Method">
    <vt:lpwstr>Automatic</vt:lpwstr>
  </property>
  <property fmtid="{D5CDD505-2E9C-101B-9397-08002B2CF9AE}" pid="8" name="Sensitivity">
    <vt:lpwstr>Cat Confidential Green</vt:lpwstr>
  </property>
  <property fmtid="{D5CDD505-2E9C-101B-9397-08002B2CF9AE}" pid="9" name="ContentTypeId">
    <vt:lpwstr>0x0101006DA4B3B2D1BDA8468F01C46AB2334AE9</vt:lpwstr>
  </property>
</Properties>
</file>